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</p:sldMasterIdLst>
  <p:notesMasterIdLst>
    <p:notesMasterId r:id="rId6"/>
  </p:notesMasterIdLst>
  <p:sldIdLst>
    <p:sldId id="347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72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74" autoAdjust="0"/>
    <p:restoredTop sz="91918" autoAdjust="0"/>
  </p:normalViewPr>
  <p:slideViewPr>
    <p:cSldViewPr snapToGrid="0" showGuides="1">
      <p:cViewPr varScale="1">
        <p:scale>
          <a:sx n="101" d="100"/>
          <a:sy n="101" d="100"/>
        </p:scale>
        <p:origin x="224" y="504"/>
      </p:cViewPr>
      <p:guideLst>
        <p:guide orient="horz" pos="1117"/>
        <p:guide pos="72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965CCB-52A6-4B0E-96FB-AD8D9D76B876}" type="datetimeFigureOut">
              <a:rPr lang="en-US" smtClean="0"/>
              <a:t>2/19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98FE28-BEA0-447B-BBC0-6EDAA2CF6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976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A0032B-02C3-462E-8EC4-5BAE079535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322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86596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09324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</p:sldLayoutIdLst>
  <p:txStyles>
    <p:titleStyle>
      <a:lvl1pPr algn="ctr" defTabSz="121902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31" indent="-457131" algn="l" defTabSz="121902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454" indent="-380944" algn="l" defTabSz="121902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773" indent="-304752" algn="l" defTabSz="121902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280" indent="-304752" algn="l" defTabSz="121902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2790" indent="-304752" algn="l" defTabSz="121902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296" indent="-304752" algn="l" defTabSz="121902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808" indent="-304752" algn="l" defTabSz="121902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316" indent="-304752" algn="l" defTabSz="121902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824" indent="-304752" algn="l" defTabSz="121902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07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2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2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3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544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051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6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069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0514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Larissa">
  <a:themeElements>
    <a:clrScheme name="BAYER_PPT2010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EEA5216B515E4DBEF97013190A83FF" ma:contentTypeVersion="13" ma:contentTypeDescription="Create a new document." ma:contentTypeScope="" ma:versionID="082830f1cf2a2806fd1515ef5c5c6dd6">
  <xsd:schema xmlns:xsd="http://www.w3.org/2001/XMLSchema" xmlns:xs="http://www.w3.org/2001/XMLSchema" xmlns:p="http://schemas.microsoft.com/office/2006/metadata/properties" xmlns:ns3="5c8e5eb2-3a7f-4a58-bb00-90e9e7cf5698" xmlns:ns4="343c309e-8554-41d3-9842-95c1f19f66f5" targetNamespace="http://schemas.microsoft.com/office/2006/metadata/properties" ma:root="true" ma:fieldsID="bad9b9f9705881cfa2b4e34bdb1dcdea" ns3:_="" ns4:_="">
    <xsd:import namespace="5c8e5eb2-3a7f-4a58-bb00-90e9e7cf5698"/>
    <xsd:import namespace="343c309e-8554-41d3-9842-95c1f19f66f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8e5eb2-3a7f-4a58-bb00-90e9e7cf56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3c309e-8554-41d3-9842-95c1f19f66f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B7F8F83-A74A-411D-97EB-A04889C9F29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2980EA0-5185-4240-9E90-EE2555FAE5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8e5eb2-3a7f-4a58-bb00-90e9e7cf5698"/>
    <ds:schemaRef ds:uri="343c309e-8554-41d3-9842-95c1f19f66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28A0AE6-BC5A-4738-8DA3-573289642671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</TotalTime>
  <Words>1</Words>
  <Application>Microsoft Macintosh PowerPoint</Application>
  <PresentationFormat>Widescreen</PresentationFormat>
  <Paragraphs>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21_Larissa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sus del Valle Rosales</dc:creator>
  <cp:lastModifiedBy>Jesus del Valle Rosales</cp:lastModifiedBy>
  <cp:revision>13</cp:revision>
  <dcterms:created xsi:type="dcterms:W3CDTF">2021-01-05T12:14:07Z</dcterms:created>
  <dcterms:modified xsi:type="dcterms:W3CDTF">2021-02-19T00:4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EEA5216B515E4DBEF97013190A83FF</vt:lpwstr>
  </property>
</Properties>
</file>